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xmlns="" userId="Andrian Kurniawan" providerId="None"/>
      </p:ext>
    </p:extLst>
  </p:cmAuthor>
  <p:cmAuthor id="2" name="Monica Logozzo" initials="ML" lastIdx="12" clrIdx="1">
    <p:extLst>
      <p:ext uri="{19B8F6BF-5375-455C-9EA6-DF929625EA0E}">
        <p15:presenceInfo xmlns:p15="http://schemas.microsoft.com/office/powerpoint/2012/main" xmlns="" userId="da3293c313b853d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5122" autoAdjust="0"/>
  </p:normalViewPr>
  <p:slideViewPr>
    <p:cSldViewPr snapToGrid="0">
      <p:cViewPr>
        <p:scale>
          <a:sx n="94" d="100"/>
          <a:sy n="94" d="100"/>
        </p:scale>
        <p:origin x="-96" y="-84"/>
      </p:cViewPr>
      <p:guideLst>
        <p:guide orient="horz" pos="2183"/>
        <p:guide orient="horz" pos="346"/>
        <p:guide orient="horz" pos="3974"/>
        <p:guide pos="7310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4/9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4/9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xmlns="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xmlns="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xmlns="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xmlns="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xmlns="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xmlns="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xmlns="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xmlns="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xmlns="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xmlns="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3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12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12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12.pn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38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0.pn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0.png"/><Relationship Id="rId18" Type="http://schemas.openxmlformats.org/officeDocument/2006/relationships/image" Target="../media/image71.svg"/><Relationship Id="rId3" Type="http://schemas.openxmlformats.org/officeDocument/2006/relationships/image" Target="../media/image55.png"/><Relationship Id="rId21" Type="http://schemas.openxmlformats.org/officeDocument/2006/relationships/image" Target="../media/image64.png"/><Relationship Id="rId7" Type="http://schemas.openxmlformats.org/officeDocument/2006/relationships/image" Target="../media/image57.png"/><Relationship Id="rId12" Type="http://schemas.openxmlformats.org/officeDocument/2006/relationships/image" Target="../media/image65.svg"/><Relationship Id="rId17" Type="http://schemas.openxmlformats.org/officeDocument/2006/relationships/image" Target="../media/image62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69.svg"/><Relationship Id="rId20" Type="http://schemas.openxmlformats.org/officeDocument/2006/relationships/image" Target="../media/image7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svg"/><Relationship Id="rId11" Type="http://schemas.openxmlformats.org/officeDocument/2006/relationships/image" Target="../media/image59.png"/><Relationship Id="rId5" Type="http://schemas.openxmlformats.org/officeDocument/2006/relationships/image" Target="../media/image56.png"/><Relationship Id="rId15" Type="http://schemas.openxmlformats.org/officeDocument/2006/relationships/image" Target="../media/image61.png"/><Relationship Id="rId10" Type="http://schemas.openxmlformats.org/officeDocument/2006/relationships/image" Target="../media/image12.png"/><Relationship Id="rId19" Type="http://schemas.openxmlformats.org/officeDocument/2006/relationships/image" Target="../media/image63.png"/><Relationship Id="rId4" Type="http://schemas.openxmlformats.org/officeDocument/2006/relationships/image" Target="../media/image59.svg"/><Relationship Id="rId9" Type="http://schemas.openxmlformats.org/officeDocument/2006/relationships/image" Target="../media/image58.png"/><Relationship Id="rId14" Type="http://schemas.openxmlformats.org/officeDocument/2006/relationships/image" Target="../media/image6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xmlns="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xmlns="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xmlns="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xmlns="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xmlns="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xmlns="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xmlns="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xmlns="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xmlns="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xmlns="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xmlns="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xmlns="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xmlns="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xmlns="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xmlns="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xmlns="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xmlns="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xmlns="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xmlns="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xmlns="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xmlns="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xmlns="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xmlns="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xmlns="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xmlns="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xmlns="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xmlns="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xmlns="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xmlns="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xmlns="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xmlns="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xmlns="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xmlns="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xmlns="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xmlns="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xmlns="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xmlns="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xmlns="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xmlns="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xmlns="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xmlns="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xmlns="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xmlns="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xmlns="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xmlns="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xmlns="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xmlns="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xmlns="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xmlns="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xmlns="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xmlns="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xmlns="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xmlns="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xmlns="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xmlns="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xmlns="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xmlns="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xmlns="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xmlns="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xmlns="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xmlns="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xmlns="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xmlns="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xmlns="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xmlns="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xmlns="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xmlns="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xmlns="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xmlns="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xmlns="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xmlns="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xmlns="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xmlns="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xmlns="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xmlns="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xmlns="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xmlns="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xmlns="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xmlns="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xmlns="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xmlns="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xmlns="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xmlns="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xmlns="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xmlns="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xmlns="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xmlns="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xmlns="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xmlns="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xmlns="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xmlns="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xmlns="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xmlns="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xmlns="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xmlns="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xmlns="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xmlns="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xmlns="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xmlns="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xmlns="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xmlns="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xmlns="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xmlns="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xmlns="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xmlns="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xmlns="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xmlns="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xmlns="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xmlns="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xmlns="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xmlns="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xmlns="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xmlns="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xmlns="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xmlns="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xmlns="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xmlns="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xmlns="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xmlns="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xmlns="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xmlns="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xmlns="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xmlns="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xmlns="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xmlns="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xmlns="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xmlns="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xmlns="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xmlns="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xmlns="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xmlns="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xmlns="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xmlns="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xmlns="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xmlns="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xmlns="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xmlns="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xmlns="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xmlns="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xmlns="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xmlns="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xmlns="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xmlns="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xmlns="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xmlns="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xmlns="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xmlns="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xmlns="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xmlns="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xmlns="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xmlns="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xmlns="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xmlns="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xmlns="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xmlns="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xmlns="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xmlns="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xmlns="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xmlns="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xmlns="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xmlns="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xmlns="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xmlns="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xmlns="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xmlns="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xmlns="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xmlns="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xmlns="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xmlns="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xmlns="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xmlns="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xmlns="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xmlns="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xmlns="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xmlns="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xmlns="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xmlns="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r>
              <a:rPr lang="it-IT" i="1" dirty="0"/>
              <a:t/>
            </a: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xmlns="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xmlns="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xmlns="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xmlns="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xmlns="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xmlns="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xmlns="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xmlns="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xmlns="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xmlns="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xmlns="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xmlns="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xmlns="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xmlns="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xmlns="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xmlns="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xmlns="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xmlns="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xmlns="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xmlns="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xmlns="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xmlns="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xmlns="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xmlns="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xmlns="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xmlns="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xmlns="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xmlns="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xmlns="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xmlns="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xmlns="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xmlns="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xmlns="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BB2DA0-BBBB-4215-95A1-C2DC120122A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093</Words>
  <Application>Microsoft Office PowerPoint</Application>
  <PresentationFormat>Personalizzato</PresentationFormat>
  <Paragraphs>253</Paragraphs>
  <Slides>32</Slides>
  <Notes>21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38" baseType="lpstr"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Utente03</cp:lastModifiedBy>
  <cp:revision>1418</cp:revision>
  <dcterms:created xsi:type="dcterms:W3CDTF">2018-12-05T18:19:15Z</dcterms:created>
  <dcterms:modified xsi:type="dcterms:W3CDTF">2021-04-09T10:4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